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039"/>
    <p:restoredTop sz="95788"/>
  </p:normalViewPr>
  <p:slideViewPr>
    <p:cSldViewPr snapToGrid="0">
      <p:cViewPr varScale="1">
        <p:scale>
          <a:sx n="96" d="100"/>
          <a:sy n="96" d="100"/>
        </p:scale>
        <p:origin x="168" y="1272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4015934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25. Nov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2554545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Michael Remus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Leiter der HSG Mensa, </a:t>
            </a:r>
            <a:r>
              <a:rPr lang="de-CH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Sapelli</a:t>
            </a:r>
            <a:endParaRPr lang="de-CH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CH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600" b="1">
                <a:latin typeface="Arial" panose="020B0604020202020204" pitchFamily="34" charset="0"/>
                <a:cs typeface="Arial" panose="020B0604020202020204" pitchFamily="34" charset="0"/>
              </a:rPr>
              <a:t>Maik G.</a:t>
            </a:r>
            <a:endParaRPr lang="de-CH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Teamleiter Küche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387160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</a:t>
            </a:r>
            <a:r>
              <a:rPr lang="de-DE" sz="1400" dirty="0" err="1"/>
              <a:t>Gesprächpartners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Maik Küchenchef 5 Jahre Teamleiter, vorher Ala Card Gastronomie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kaufszahlen bis 5 Jahr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Kassensystem eine Artikelanalyse,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pc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basiert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funktioniert der Prozess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enüplanung 1 Monat im Voraus, basierend darauf eine Vorbestellung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Rüstabfall, 20% Gemüse etc.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ramm pro Portio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Calibri"/>
              </a:rPr>
              <a:t>Convenicece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Produkte 2 Mal pro Tag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emüse jeden Tag bestellen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ibt es aktuell eine Übersicht auf der ersichtlich ist, was und in welcher Menge eingekauft werden muss?</a:t>
            </a:r>
          </a:p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</a:rPr>
              <a:t>	Menüplanung,  geplant vs. Verkauft ersichtlich pro Kalenderwoche, in den Bestelllisten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weiteren Informationen sind wichtig bei der Bedarfsplanung?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200" b="1" dirty="0">
                <a:solidFill>
                  <a:schemeClr val="tx1"/>
                </a:solidFill>
                <a:latin typeface="Calibri"/>
                <a:cs typeface="Calibri"/>
              </a:rPr>
              <a:t>Visualisierung einer Dimension: Bedarfsvorhersage einzelner Gerichte / Produkte / Lebensmittel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wichtig ist Ihnen, dass Sie die Vorschläge des Tools nachvollziehen könn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Vergleich zum Vorjahr, wo kommen die Zahlen her, Rechenweg, Faktoren anzeigen die eine Rolle spielen,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Glaubwürdigkeit: Vergleich zum Vorjah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con basiert, Sonne, Regen,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viel Betrieb, Terrassenbetrieb (= Leute halten sich länger auf)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as muss alles gegeben sein damit sie einer Voraussage eines Algorithmus vertrauen könne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Vorjahresvergleich, individuelle Ereignisse der Universität, Produktionszeiten, Schichtzeiten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st es für Sie wichtiger, eine Erklärung über die Funktionsweise des Algorithmus zu erhalten, oder eine die die aktuell ausgesprochene Empfehlung erklärt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Fokus auf die Erklärung der Zahl / Vorhersage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Elemente müssen in der Erklärung vorhanden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Menü mit den einzelnen Mengen, Was sind die Einflussfaktoren? Vorjahreszahl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rtigkeit der Menüs (Vielgefragtes Menüs vs. Wenig gefragtes Menü mit Sternen)</a:t>
            </a:r>
          </a:p>
          <a:p>
            <a:pPr marL="742950" lvl="1" indent="-735013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ie müssen die Erklärungen strukturiert sein, dass sie verständlich und nachvollziehbar sind?</a:t>
            </a:r>
          </a:p>
          <a:p>
            <a:pPr marL="742950" lvl="1" indent="-290513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Text so kurz und einfach wie möglich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Gibt es weitere  Elemente die ein solches Tool aufweisen muss, damit Sie den Empfehlung dessen vertrauen könn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Gesamtmenüzahl Verhältnis, wo befinden wir uns gerade im Nachfrageverlauf Jahr, Monat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nteraktionen, Icons bearbeitbar, Icons selbst in den Menüplan eintragen, Werte anpassen, Tools nutzbar mach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744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enüplanung verändern, 450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asia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ergibt 300 von den andere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Produktion +3 Tage bis Verzehr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uss man einzelne Gerichte oder andere Faktoren ausklammern können bspw. (Ausklammern von bestimmten Lebensmitteln aufgrund Allergien oder Geschmacksvorlieben, bei saisonalen Gerichten etc.)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aisonale Produkte empfehlen -&gt; Kartoffelstock und Rotkraut sind nicht im Somme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are kommt nicht -&gt; Logistikproblem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äre es hilfreich, wenn Empfehlungen im Sinne eines „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Recommender</a:t>
            </a: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 Systems“, welche Vorschläge zu anderen Gerichten gibt, integriert sind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Herunterbrechen auf die einzelnen Lebensmittel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Bedarf an Menüs pro Woche / Tag und Anzahl pro Menüs 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arbeit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Too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good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to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go</a:t>
            </a: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Webshop -&gt; Take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away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Menü reservieren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824</Words>
  <Application>Microsoft Macintosh PowerPoint</Application>
  <PresentationFormat>Bildschirmpräsentation (16:9)</PresentationFormat>
  <Paragraphs>123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4</cp:revision>
  <cp:lastPrinted>2020-03-29T12:41:23Z</cp:lastPrinted>
  <dcterms:created xsi:type="dcterms:W3CDTF">2019-10-08T08:06:46Z</dcterms:created>
  <dcterms:modified xsi:type="dcterms:W3CDTF">2021-01-12T10:2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